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6"/>
  </p:notesMasterIdLst>
  <p:handoutMasterIdLst>
    <p:handoutMasterId r:id="rId7"/>
  </p:handoutMasterIdLst>
  <p:sldIdLst>
    <p:sldId id="449" r:id="rId2"/>
    <p:sldId id="450" r:id="rId3"/>
    <p:sldId id="451" r:id="rId4"/>
    <p:sldId id="452" r:id="rId5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49"/>
            <p14:sldId id="450"/>
            <p14:sldId id="451"/>
            <p14:sldId id="452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115" d="100"/>
          <a:sy n="115" d="100"/>
        </p:scale>
        <p:origin x="-1572" y="-114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717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DB2877B-B42C-4008-85F6-731D5B04342F}" type="datetime1">
              <a:rPr lang="de-DE" smtClean="0">
                <a:solidFill>
                  <a:prstClr val="black"/>
                </a:solidFill>
              </a:rPr>
              <a:pPr>
                <a:defRPr/>
              </a:pPr>
              <a:t>17.05.2013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A859317-F8E0-4391-80D7-7DC94CFB279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de-D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819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A8924A7-1063-4F95-93D0-07679BEE5940}" type="datetime1">
              <a:rPr lang="de-DE" smtClean="0">
                <a:solidFill>
                  <a:prstClr val="black"/>
                </a:solidFill>
              </a:rPr>
              <a:pPr>
                <a:defRPr/>
              </a:pPr>
              <a:t>17.05.2013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A859317-F8E0-4391-80D7-7DC94CFB279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de-D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921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0A98B7F-DE8B-41D4-AC45-D4D7A2E3BA5E}" type="datetime1">
              <a:rPr lang="de-DE" smtClean="0">
                <a:solidFill>
                  <a:prstClr val="black"/>
                </a:solidFill>
              </a:rPr>
              <a:pPr>
                <a:defRPr/>
              </a:pPr>
              <a:t>17.05.2013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A859317-F8E0-4391-80D7-7DC94CFB279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de-D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6FDF17C-67BD-4A03-97C6-77BA4EAF3FDF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5AD76A6-13EA-4E77-A20E-EC5C6C0FCF0B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C7B586D-1849-49D2-9B88-99C8D3CBEE3C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EB64EAC-03F6-4457-8E47-8EBA835A64A5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AA56FB3-A8F3-427E-92E9-6B0F531CFA06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DF923DB-1D70-4682-8000-083D23E32F32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V.B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D8DFC7B-A312-4170-A43C-293B0CC8C108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278CAEC-288D-43C5-A136-909EFD189304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44B7B20-2400-462D-AC8B-8A859ED798FA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80E414D-F337-4489-BA1E-D1C7F52AE908}" type="datetime1">
              <a:rPr lang="de-DE" smtClean="0"/>
              <a:t>17.05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5B4E6DF-AFED-414F-84BB-9B41BA04B0EF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A128E88-DA0E-4FA2-869D-1024146AE2CE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C80EB69-A691-4CDE-91A4-4676A3655CAD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 - Customizing &amp; Tools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9589616-252D-48F8-93E1-E525172B96C7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453165"/>
              </p:ext>
            </p:extLst>
          </p:nvPr>
        </p:nvGraphicFramePr>
        <p:xfrm>
          <a:off x="267793" y="1232756"/>
          <a:ext cx="6068403" cy="508420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V.B Kopieren von Produkten</a:t>
                      </a:r>
                      <a:endParaRPr lang="de-DE" sz="24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5673958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85C9E64-6310-494F-99A7-2340CE51D74D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Kopieren von Produkten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80057" y="1376772"/>
            <a:ext cx="7280275" cy="4246562"/>
          </a:xfrm>
          <a:ln/>
        </p:spPr>
        <p:txBody>
          <a:bodyPr/>
          <a:lstStyle/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ypischerweise sind neue Generationen eines Versicherungsproduktes ähnlich der bisherigen Generation. 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Vorgehensweise, um eine neue Generation eines Versicherungsproduktes zu erzeugen, ist das bestehende zu kopieren und entsprechende Änderungen vorzunehmen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ine neuen Generation kann neue Produktbausteine enthalten. Z.B. neue Deckungsarten, Zuschläge oder Nachlässe. Diese wiederum können ähnlich bereits bestehender Produktbausteine sein.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Unterstützung in Faktor-IPS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Wizard „Neue Generation erzeugen“: Kopieren von Produktbausteinen mit Angabe einer neuen Generationsversio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Wizard „Produkt kopieren“: Kopieren von Produktbausteinen mit einem Suchen/Ersetzen Muste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V.B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966671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11D2415-0754-41AF-89EB-970762274E74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Kopieren von Produkten</a:t>
            </a: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80057" y="1376363"/>
            <a:ext cx="7280275" cy="4244975"/>
          </a:xfrm>
          <a:ln/>
        </p:spPr>
        <p:txBody>
          <a:bodyPr/>
          <a:lstStyle/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Selektiere das bestehende Produkt HR-Optimal im Produktstrukturexplorer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Wähle über das Kontextmenü „Neue Generation erzeugen“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ine Folgegeneration 2014-01 anlegen. Alle Bausteine übernehmen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Eine neue Zusatzdeckung Wasserbetten durch Kopie der Fahrraddiebstahl-Deckung erzeugen und den Produkten zuordnen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V.B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33354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BFF9226-9C6E-4ED7-B949-6B38AA1EFB22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 smtClean="0"/>
              <a:t>Übungen zu </a:t>
            </a:r>
            <a:r>
              <a:rPr lang="de-DE" smtClean="0"/>
              <a:t>Kapitel IV.B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V.B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03537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0</Words>
  <Application>Microsoft Office PowerPoint</Application>
  <PresentationFormat>Bildschirmpräsentation (4:3)</PresentationFormat>
  <Paragraphs>28</Paragraphs>
  <Slides>4</Slides>
  <Notes>3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5" baseType="lpstr">
      <vt:lpstr>Master - ConVista General </vt:lpstr>
      <vt:lpstr>Inhalt - Customizing &amp; Tools</vt:lpstr>
      <vt:lpstr>Kopieren von Produkten</vt:lpstr>
      <vt:lpstr>Demo: Kopieren von Produkten</vt:lpstr>
      <vt:lpstr>Übungen zu Kapitel IV.B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dicker</cp:lastModifiedBy>
  <cp:revision>1627</cp:revision>
  <cp:lastPrinted>2012-11-19T11:42:38Z</cp:lastPrinted>
  <dcterms:created xsi:type="dcterms:W3CDTF">2005-03-22T09:36:15Z</dcterms:created>
  <dcterms:modified xsi:type="dcterms:W3CDTF">2013-05-17T13:11:13Z</dcterms:modified>
  <cp:category>Master</cp:category>
  <cp:contentStatus>RELEASED</cp:contentStatus>
</cp:coreProperties>
</file>